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emf" ContentType="image/x-emf"/>
  <Default Extension="png" ContentType="image/png"/>
  <Default Extension="bin" ContentType="application/vnd.openxmlformats-officedocument.oleObject"/>
  <Default Extension="svg" ContentType="image/svg+xml"/>
  <Default Extension="vml" ContentType="application/vnd.openxmlformats-officedocument.vmlDrawing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s/slide125.xml" ContentType="application/vnd.openxmlformats-officedocument.presentationml.slide+xml"/>
  <Override PartName="/ppt/tags/tag433.xml" ContentType="application/vnd.openxmlformats-officedocument.presentationml.tags+xml"/>
  <Override PartName="/ppt/tags/tag432.xml" ContentType="application/vnd.openxmlformats-officedocument.presentationml.tags+xml"/>
  <Override PartName="/ppt/notesSlides/notesSlide125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434.xml" ContentType="application/vnd.openxmlformats-officedocument.presentationml.tag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133" r:id="rId128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slide" Target="/ppt/slides/slide125.xml" Id="rId128" /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29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25.xml.rels>&#65279;<?xml version="1.0" encoding="utf-8"?><Relationships xmlns="http://schemas.openxmlformats.org/package/2006/relationships"><Relationship Type="http://schemas.openxmlformats.org/officeDocument/2006/relationships/slide" Target="/ppt/slides/slide125.xml" Id="rId2" /><Relationship Type="http://schemas.openxmlformats.org/officeDocument/2006/relationships/notesMaster" Target="/ppt/notesMasters/notesMaster1.xml" Id="rId1" /></Relationships>
</file>

<file path=ppt/notesSlides/notesSlide1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2900250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25.xml.rels>&#65279;<?xml version="1.0" encoding="utf-8"?><Relationships xmlns="http://schemas.openxmlformats.org/package/2006/relationships"><Relationship Type="http://schemas.openxmlformats.org/officeDocument/2006/relationships/image" Target="/ppt/media/image4.emf" Id="rId8" /><Relationship Type="http://schemas.openxmlformats.org/officeDocument/2006/relationships/image" Target="/ppt/media/image5.png" Id="rId13" /><Relationship Type="http://schemas.openxmlformats.org/officeDocument/2006/relationships/tags" Target="/ppt/tags/tag433.xml" Id="rId3" /><Relationship Type="http://schemas.openxmlformats.org/officeDocument/2006/relationships/oleObject" Target="/ppt/embeddings/oleObject129.bin" Id="rId7" /><Relationship Type="http://schemas.openxmlformats.org/officeDocument/2006/relationships/image" Target="/ppt/media/image87.svg" Id="rId12" /><Relationship Type="http://schemas.openxmlformats.org/officeDocument/2006/relationships/tags" Target="/ppt/tags/tag432.xml" Id="rId2" /><Relationship Type="http://schemas.openxmlformats.org/officeDocument/2006/relationships/image" Target="/ppt/media/image8.svg" Id="rId16" /><Relationship Type="http://schemas.openxmlformats.org/officeDocument/2006/relationships/vmlDrawing" Target="/ppt/drawings/vmlDrawing129.vml" Id="rId1" /><Relationship Type="http://schemas.openxmlformats.org/officeDocument/2006/relationships/notesSlide" Target="/ppt/notesSlides/notesSlide125.xml" Id="rId6" /><Relationship Type="http://schemas.openxmlformats.org/officeDocument/2006/relationships/image" Target="/ppt/media/image86.png" Id="rId11" /><Relationship Type="http://schemas.openxmlformats.org/officeDocument/2006/relationships/slideLayout" Target="/ppt/slideLayouts/slideLayout5.xml" Id="rId5" /><Relationship Type="http://schemas.openxmlformats.org/officeDocument/2006/relationships/image" Target="/ppt/media/image7.png" Id="rId15" /><Relationship Type="http://schemas.openxmlformats.org/officeDocument/2006/relationships/image" Target="/ppt/media/image12.svg" Id="rId10" /><Relationship Type="http://schemas.openxmlformats.org/officeDocument/2006/relationships/tags" Target="/ppt/tags/tag434.xml" Id="rId4" /><Relationship Type="http://schemas.openxmlformats.org/officeDocument/2006/relationships/image" Target="/ppt/media/image11.png" Id="rId9" /><Relationship Type="http://schemas.openxmlformats.org/officeDocument/2006/relationships/image" Target="/ppt/media/image6.svg" Id="rId14" /></Relationships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3137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55" name="think-cell 幻灯片" r:id="rId7" imgW="349" imgH="350" progId="TCLayout.ActiveDocument.1">
                  <p:embed/>
                </p:oleObj>
              </mc:Choice>
              <mc:Fallback>
                <p:oleObj name="think-cell 幻灯片" r:id="rId7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27" name="Rectangle 26">
            <a:extLst>
              <a:ext uri="{FF2B5EF4-FFF2-40B4-BE49-F238E27FC236}">
                <a16:creationId xmlns:a16="http://schemas.microsoft.com/office/drawing/2014/main" id="{3AC75B71-AE67-E70E-78FA-D3731E7AD698}"/>
              </a:ext>
            </a:extLst>
          </p:cNvPr>
          <p:cNvSpPr/>
          <p:nvPr>
            <p:custDataLst>
              <p:tags r:id="rId3"/>
            </p:custDataLst>
          </p:nvPr>
        </p:nvSpPr>
        <p:spPr bwMode="white">
          <a:xfrm>
            <a:off x="12573000" y="0"/>
            <a:ext cx="12700" cy="12700"/>
          </a:xfrm>
          <a:prstGeom prst="rect">
            <a:avLst/>
          </a:prstGeom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F43FD18-8770-4A13-E52C-FF693A2A9717}"/>
              </a:ext>
            </a:extLst>
          </p:cNvPr>
          <p:cNvSpPr/>
          <p:nvPr>
            <p:custDataLst>
              <p:tags r:id="rId4"/>
            </p:custDataLst>
          </p:nvPr>
        </p:nvSpPr>
        <p:spPr bwMode="white">
          <a:xfrm>
            <a:off x="12573000" y="0"/>
            <a:ext cx="12700" cy="12700"/>
          </a:xfrm>
          <a:prstGeom prst="rect">
            <a:avLst/>
          </a:prstGeom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Infographic process VI</a:t>
            </a:r>
          </a:p>
        </p:txBody>
      </p:sp>
      <p:sp>
        <p:nvSpPr>
          <p:cNvPr id="26" name="Text Placeholder 15">
            <a:extLst>
              <a:ext uri="{FF2B5EF4-FFF2-40B4-BE49-F238E27FC236}">
                <a16:creationId xmlns:a16="http://schemas.microsoft.com/office/drawing/2014/main" id="{82D8B7B8-326A-551D-E27A-EF6738FF2C27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577722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infographics, processes, plan, plans, icon, icons, stage, stages, phase, phases, step, steps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01F5D0C3-8817-0293-6BE0-7BA580A1F21A}"/>
              </a:ext>
            </a:extLst>
          </p:cNvPr>
          <p:cNvSpPr txBox="1">
            <a:spLocks/>
          </p:cNvSpPr>
          <p:nvPr/>
        </p:nvSpPr>
        <p:spPr bwMode="gray">
          <a:xfrm>
            <a:off x="556389" y="4346803"/>
            <a:ext cx="1985652" cy="307777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sz="2000">
                <a:solidFill>
                  <a:schemeClr val="tx2"/>
                </a:solidFill>
              </a:rPr>
              <a:t>Sample text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C1812416-8033-0196-6D17-99BFE8DDE27E}"/>
              </a:ext>
            </a:extLst>
          </p:cNvPr>
          <p:cNvSpPr txBox="1">
            <a:spLocks/>
          </p:cNvSpPr>
          <p:nvPr/>
        </p:nvSpPr>
        <p:spPr>
          <a:xfrm>
            <a:off x="556389" y="4754017"/>
            <a:ext cx="1985652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.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. </a:t>
            </a:r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32F22C9E-C6C5-E216-7F4A-7E8114AD5831}"/>
              </a:ext>
            </a:extLst>
          </p:cNvPr>
          <p:cNvSpPr txBox="1">
            <a:spLocks/>
          </p:cNvSpPr>
          <p:nvPr/>
        </p:nvSpPr>
        <p:spPr bwMode="gray">
          <a:xfrm>
            <a:off x="2838846" y="4346803"/>
            <a:ext cx="1985652" cy="307777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sz="2000">
                <a:solidFill>
                  <a:schemeClr val="tx2"/>
                </a:solidFill>
              </a:rPr>
              <a:t>Sample text</a:t>
            </a:r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0F33AD52-91A7-F500-8612-CAE572D4AB99}"/>
              </a:ext>
            </a:extLst>
          </p:cNvPr>
          <p:cNvSpPr txBox="1">
            <a:spLocks/>
          </p:cNvSpPr>
          <p:nvPr/>
        </p:nvSpPr>
        <p:spPr>
          <a:xfrm>
            <a:off x="2838846" y="4754017"/>
            <a:ext cx="1985652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.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. 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C4C2FEB0-24B7-87BC-10CC-68EA6FF16A5D}"/>
              </a:ext>
            </a:extLst>
          </p:cNvPr>
          <p:cNvSpPr txBox="1">
            <a:spLocks/>
          </p:cNvSpPr>
          <p:nvPr/>
        </p:nvSpPr>
        <p:spPr bwMode="gray">
          <a:xfrm>
            <a:off x="5121559" y="4346803"/>
            <a:ext cx="1985652" cy="307777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sz="2000">
                <a:solidFill>
                  <a:schemeClr val="tx2"/>
                </a:solidFill>
              </a:rPr>
              <a:t>Sample text</a:t>
            </a:r>
          </a:p>
        </p:txBody>
      </p:sp>
      <p:sp>
        <p:nvSpPr>
          <p:cNvPr id="19" name="Inhaltsplatzhalter 2">
            <a:extLst>
              <a:ext uri="{FF2B5EF4-FFF2-40B4-BE49-F238E27FC236}">
                <a16:creationId xmlns:a16="http://schemas.microsoft.com/office/drawing/2014/main" id="{D8A1C794-6440-C6A3-E5E6-FA95B690F289}"/>
              </a:ext>
            </a:extLst>
          </p:cNvPr>
          <p:cNvSpPr txBox="1">
            <a:spLocks/>
          </p:cNvSpPr>
          <p:nvPr/>
        </p:nvSpPr>
        <p:spPr>
          <a:xfrm>
            <a:off x="5121559" y="4754017"/>
            <a:ext cx="1985652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.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. 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0BD994A3-82DB-0365-2BE3-4460877B7FEE}"/>
              </a:ext>
            </a:extLst>
          </p:cNvPr>
          <p:cNvSpPr txBox="1">
            <a:spLocks/>
          </p:cNvSpPr>
          <p:nvPr/>
        </p:nvSpPr>
        <p:spPr bwMode="gray">
          <a:xfrm>
            <a:off x="7404014" y="4346803"/>
            <a:ext cx="1985652" cy="307777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sz="2000">
                <a:solidFill>
                  <a:schemeClr val="tx2"/>
                </a:solidFill>
              </a:rPr>
              <a:t>Sample text</a:t>
            </a:r>
          </a:p>
        </p:txBody>
      </p:sp>
      <p:sp>
        <p:nvSpPr>
          <p:cNvPr id="21" name="Inhaltsplatzhalter 2">
            <a:extLst>
              <a:ext uri="{FF2B5EF4-FFF2-40B4-BE49-F238E27FC236}">
                <a16:creationId xmlns:a16="http://schemas.microsoft.com/office/drawing/2014/main" id="{9E06544E-A97F-23FA-7E38-715D8FFA3C32}"/>
              </a:ext>
            </a:extLst>
          </p:cNvPr>
          <p:cNvSpPr txBox="1">
            <a:spLocks/>
          </p:cNvSpPr>
          <p:nvPr/>
        </p:nvSpPr>
        <p:spPr>
          <a:xfrm>
            <a:off x="7404014" y="4754017"/>
            <a:ext cx="1985652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.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. </a:t>
            </a:r>
          </a:p>
        </p:txBody>
      </p:sp>
      <p:sp>
        <p:nvSpPr>
          <p:cNvPr id="36" name="Textplatzhalter 9">
            <a:extLst>
              <a:ext uri="{FF2B5EF4-FFF2-40B4-BE49-F238E27FC236}">
                <a16:creationId xmlns:a16="http://schemas.microsoft.com/office/drawing/2014/main" id="{3F750A4F-116F-807A-322C-64AA05DC6C24}"/>
              </a:ext>
            </a:extLst>
          </p:cNvPr>
          <p:cNvSpPr txBox="1">
            <a:spLocks/>
          </p:cNvSpPr>
          <p:nvPr/>
        </p:nvSpPr>
        <p:spPr bwMode="gray">
          <a:xfrm>
            <a:off x="9686469" y="4346803"/>
            <a:ext cx="1985652" cy="307777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sz="2000">
                <a:solidFill>
                  <a:schemeClr val="tx2"/>
                </a:solidFill>
              </a:rPr>
              <a:t>Sample text</a:t>
            </a:r>
          </a:p>
        </p:txBody>
      </p:sp>
      <p:sp>
        <p:nvSpPr>
          <p:cNvPr id="37" name="Inhaltsplatzhalter 2">
            <a:extLst>
              <a:ext uri="{FF2B5EF4-FFF2-40B4-BE49-F238E27FC236}">
                <a16:creationId xmlns:a16="http://schemas.microsoft.com/office/drawing/2014/main" id="{8EB5F0FF-4EBE-8F5A-0A21-0D633ADE448D}"/>
              </a:ext>
            </a:extLst>
          </p:cNvPr>
          <p:cNvSpPr txBox="1">
            <a:spLocks/>
          </p:cNvSpPr>
          <p:nvPr/>
        </p:nvSpPr>
        <p:spPr>
          <a:xfrm>
            <a:off x="9686469" y="4754017"/>
            <a:ext cx="1985652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.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. </a:t>
            </a:r>
          </a:p>
        </p:txBody>
      </p:sp>
      <p:sp>
        <p:nvSpPr>
          <p:cNvPr id="3" name="Ellipse 43">
            <a:extLst>
              <a:ext uri="{FF2B5EF4-FFF2-40B4-BE49-F238E27FC236}">
                <a16:creationId xmlns:a16="http://schemas.microsoft.com/office/drawing/2014/main" id="{ABD1E8F9-ED13-DC42-5051-E664E0CCEB8E}"/>
              </a:ext>
            </a:extLst>
          </p:cNvPr>
          <p:cNvSpPr>
            <a:spLocks/>
          </p:cNvSpPr>
          <p:nvPr/>
        </p:nvSpPr>
        <p:spPr bwMode="gray">
          <a:xfrm flipV="1">
            <a:off x="2690444" y="2705143"/>
            <a:ext cx="2282457" cy="1141199"/>
          </a:xfrm>
          <a:custGeom>
            <a:avLst/>
            <a:gdLst>
              <a:gd name="connsiteX0" fmla="*/ 0 w 2160180"/>
              <a:gd name="connsiteY0" fmla="*/ 1079971 h 2159942"/>
              <a:gd name="connsiteX1" fmla="*/ 1080090 w 2160180"/>
              <a:gd name="connsiteY1" fmla="*/ 0 h 2159942"/>
              <a:gd name="connsiteX2" fmla="*/ 2160180 w 2160180"/>
              <a:gd name="connsiteY2" fmla="*/ 1079971 h 2159942"/>
              <a:gd name="connsiteX3" fmla="*/ 1080090 w 2160180"/>
              <a:gd name="connsiteY3" fmla="*/ 2159942 h 2159942"/>
              <a:gd name="connsiteX4" fmla="*/ 0 w 2160180"/>
              <a:gd name="connsiteY4" fmla="*/ 1079971 h 2159942"/>
              <a:gd name="connsiteX0" fmla="*/ 1080090 w 2160180"/>
              <a:gd name="connsiteY0" fmla="*/ 2159942 h 2251382"/>
              <a:gd name="connsiteX1" fmla="*/ 0 w 2160180"/>
              <a:gd name="connsiteY1" fmla="*/ 1079971 h 2251382"/>
              <a:gd name="connsiteX2" fmla="*/ 1080090 w 2160180"/>
              <a:gd name="connsiteY2" fmla="*/ 0 h 2251382"/>
              <a:gd name="connsiteX3" fmla="*/ 2160180 w 2160180"/>
              <a:gd name="connsiteY3" fmla="*/ 1079971 h 2251382"/>
              <a:gd name="connsiteX4" fmla="*/ 1171530 w 2160180"/>
              <a:gd name="connsiteY4" fmla="*/ 2251382 h 2251382"/>
              <a:gd name="connsiteX0" fmla="*/ 1080090 w 2160180"/>
              <a:gd name="connsiteY0" fmla="*/ 2159942 h 2159942"/>
              <a:gd name="connsiteX1" fmla="*/ 0 w 2160180"/>
              <a:gd name="connsiteY1" fmla="*/ 1079971 h 2159942"/>
              <a:gd name="connsiteX2" fmla="*/ 1080090 w 2160180"/>
              <a:gd name="connsiteY2" fmla="*/ 0 h 2159942"/>
              <a:gd name="connsiteX3" fmla="*/ 2160180 w 2160180"/>
              <a:gd name="connsiteY3" fmla="*/ 1079971 h 2159942"/>
              <a:gd name="connsiteX0" fmla="*/ 0 w 2160180"/>
              <a:gd name="connsiteY0" fmla="*/ 1079971 h 1079971"/>
              <a:gd name="connsiteX1" fmla="*/ 1080090 w 2160180"/>
              <a:gd name="connsiteY1" fmla="*/ 0 h 1079971"/>
              <a:gd name="connsiteX2" fmla="*/ 2160180 w 2160180"/>
              <a:gd name="connsiteY2" fmla="*/ 1079971 h 1079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60180" h="1079971">
                <a:moveTo>
                  <a:pt x="0" y="1079971"/>
                </a:moveTo>
                <a:cubicBezTo>
                  <a:pt x="0" y="483519"/>
                  <a:pt x="483573" y="0"/>
                  <a:pt x="1080090" y="0"/>
                </a:cubicBezTo>
                <a:cubicBezTo>
                  <a:pt x="1676607" y="0"/>
                  <a:pt x="2160180" y="483519"/>
                  <a:pt x="2160180" y="1079971"/>
                </a:cubicBezTo>
              </a:path>
            </a:pathLst>
          </a:cu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4" name="Ellipse 44">
            <a:extLst>
              <a:ext uri="{FF2B5EF4-FFF2-40B4-BE49-F238E27FC236}">
                <a16:creationId xmlns:a16="http://schemas.microsoft.com/office/drawing/2014/main" id="{45CCD39A-5437-C8C6-1B2F-B1233C70A731}"/>
              </a:ext>
            </a:extLst>
          </p:cNvPr>
          <p:cNvSpPr>
            <a:spLocks/>
          </p:cNvSpPr>
          <p:nvPr/>
        </p:nvSpPr>
        <p:spPr bwMode="gray">
          <a:xfrm flipV="1">
            <a:off x="4973156" y="1563942"/>
            <a:ext cx="2282457" cy="1141199"/>
          </a:xfrm>
          <a:custGeom>
            <a:avLst/>
            <a:gdLst>
              <a:gd name="connsiteX0" fmla="*/ 0 w 2160180"/>
              <a:gd name="connsiteY0" fmla="*/ 1079971 h 2159942"/>
              <a:gd name="connsiteX1" fmla="*/ 1080090 w 2160180"/>
              <a:gd name="connsiteY1" fmla="*/ 0 h 2159942"/>
              <a:gd name="connsiteX2" fmla="*/ 2160180 w 2160180"/>
              <a:gd name="connsiteY2" fmla="*/ 1079971 h 2159942"/>
              <a:gd name="connsiteX3" fmla="*/ 1080090 w 2160180"/>
              <a:gd name="connsiteY3" fmla="*/ 2159942 h 2159942"/>
              <a:gd name="connsiteX4" fmla="*/ 0 w 2160180"/>
              <a:gd name="connsiteY4" fmla="*/ 1079971 h 2159942"/>
              <a:gd name="connsiteX0" fmla="*/ 1080090 w 2160180"/>
              <a:gd name="connsiteY0" fmla="*/ 0 h 2159942"/>
              <a:gd name="connsiteX1" fmla="*/ 2160180 w 2160180"/>
              <a:gd name="connsiteY1" fmla="*/ 1079971 h 2159942"/>
              <a:gd name="connsiteX2" fmla="*/ 1080090 w 2160180"/>
              <a:gd name="connsiteY2" fmla="*/ 2159942 h 2159942"/>
              <a:gd name="connsiteX3" fmla="*/ 0 w 2160180"/>
              <a:gd name="connsiteY3" fmla="*/ 1079971 h 2159942"/>
              <a:gd name="connsiteX4" fmla="*/ 1171530 w 2160180"/>
              <a:gd name="connsiteY4" fmla="*/ 91440 h 2159942"/>
              <a:gd name="connsiteX0" fmla="*/ 1080090 w 2160180"/>
              <a:gd name="connsiteY0" fmla="*/ 0 h 2159942"/>
              <a:gd name="connsiteX1" fmla="*/ 2160180 w 2160180"/>
              <a:gd name="connsiteY1" fmla="*/ 1079971 h 2159942"/>
              <a:gd name="connsiteX2" fmla="*/ 1080090 w 2160180"/>
              <a:gd name="connsiteY2" fmla="*/ 2159942 h 2159942"/>
              <a:gd name="connsiteX3" fmla="*/ 0 w 2160180"/>
              <a:gd name="connsiteY3" fmla="*/ 1079971 h 2159942"/>
              <a:gd name="connsiteX0" fmla="*/ 2160180 w 2160180"/>
              <a:gd name="connsiteY0" fmla="*/ 0 h 1079971"/>
              <a:gd name="connsiteX1" fmla="*/ 1080090 w 2160180"/>
              <a:gd name="connsiteY1" fmla="*/ 1079971 h 1079971"/>
              <a:gd name="connsiteX2" fmla="*/ 0 w 2160180"/>
              <a:gd name="connsiteY2" fmla="*/ 0 h 1079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60180" h="1079971">
                <a:moveTo>
                  <a:pt x="2160180" y="0"/>
                </a:moveTo>
                <a:cubicBezTo>
                  <a:pt x="2160180" y="596452"/>
                  <a:pt x="1676607" y="1079971"/>
                  <a:pt x="1080090" y="1079971"/>
                </a:cubicBezTo>
                <a:cubicBezTo>
                  <a:pt x="483573" y="1079971"/>
                  <a:pt x="0" y="596452"/>
                  <a:pt x="0" y="0"/>
                </a:cubicBezTo>
              </a:path>
            </a:pathLst>
          </a:cu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6" name="Ellipse 45">
            <a:extLst>
              <a:ext uri="{FF2B5EF4-FFF2-40B4-BE49-F238E27FC236}">
                <a16:creationId xmlns:a16="http://schemas.microsoft.com/office/drawing/2014/main" id="{7CE62F18-7AE3-181D-544F-346EDC081DC8}"/>
              </a:ext>
            </a:extLst>
          </p:cNvPr>
          <p:cNvSpPr>
            <a:spLocks/>
          </p:cNvSpPr>
          <p:nvPr/>
        </p:nvSpPr>
        <p:spPr bwMode="gray">
          <a:xfrm flipV="1">
            <a:off x="7255612" y="2705143"/>
            <a:ext cx="2282457" cy="1141199"/>
          </a:xfrm>
          <a:custGeom>
            <a:avLst/>
            <a:gdLst>
              <a:gd name="connsiteX0" fmla="*/ 0 w 2160180"/>
              <a:gd name="connsiteY0" fmla="*/ 1079971 h 2159942"/>
              <a:gd name="connsiteX1" fmla="*/ 1080090 w 2160180"/>
              <a:gd name="connsiteY1" fmla="*/ 0 h 2159942"/>
              <a:gd name="connsiteX2" fmla="*/ 2160180 w 2160180"/>
              <a:gd name="connsiteY2" fmla="*/ 1079971 h 2159942"/>
              <a:gd name="connsiteX3" fmla="*/ 1080090 w 2160180"/>
              <a:gd name="connsiteY3" fmla="*/ 2159942 h 2159942"/>
              <a:gd name="connsiteX4" fmla="*/ 0 w 2160180"/>
              <a:gd name="connsiteY4" fmla="*/ 1079971 h 2159942"/>
              <a:gd name="connsiteX0" fmla="*/ 1080090 w 2160180"/>
              <a:gd name="connsiteY0" fmla="*/ 2159942 h 2251382"/>
              <a:gd name="connsiteX1" fmla="*/ 0 w 2160180"/>
              <a:gd name="connsiteY1" fmla="*/ 1079971 h 2251382"/>
              <a:gd name="connsiteX2" fmla="*/ 1080090 w 2160180"/>
              <a:gd name="connsiteY2" fmla="*/ 0 h 2251382"/>
              <a:gd name="connsiteX3" fmla="*/ 2160180 w 2160180"/>
              <a:gd name="connsiteY3" fmla="*/ 1079971 h 2251382"/>
              <a:gd name="connsiteX4" fmla="*/ 1171530 w 2160180"/>
              <a:gd name="connsiteY4" fmla="*/ 2251382 h 2251382"/>
              <a:gd name="connsiteX0" fmla="*/ 1080090 w 2160180"/>
              <a:gd name="connsiteY0" fmla="*/ 2159942 h 2159942"/>
              <a:gd name="connsiteX1" fmla="*/ 0 w 2160180"/>
              <a:gd name="connsiteY1" fmla="*/ 1079971 h 2159942"/>
              <a:gd name="connsiteX2" fmla="*/ 1080090 w 2160180"/>
              <a:gd name="connsiteY2" fmla="*/ 0 h 2159942"/>
              <a:gd name="connsiteX3" fmla="*/ 2160180 w 2160180"/>
              <a:gd name="connsiteY3" fmla="*/ 1079971 h 2159942"/>
              <a:gd name="connsiteX0" fmla="*/ 0 w 2160180"/>
              <a:gd name="connsiteY0" fmla="*/ 1079971 h 1079971"/>
              <a:gd name="connsiteX1" fmla="*/ 1080090 w 2160180"/>
              <a:gd name="connsiteY1" fmla="*/ 0 h 1079971"/>
              <a:gd name="connsiteX2" fmla="*/ 2160180 w 2160180"/>
              <a:gd name="connsiteY2" fmla="*/ 1079971 h 1079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60180" h="1079971">
                <a:moveTo>
                  <a:pt x="0" y="1079971"/>
                </a:moveTo>
                <a:cubicBezTo>
                  <a:pt x="0" y="483519"/>
                  <a:pt x="483573" y="0"/>
                  <a:pt x="1080090" y="0"/>
                </a:cubicBezTo>
                <a:cubicBezTo>
                  <a:pt x="1676607" y="0"/>
                  <a:pt x="2160180" y="483519"/>
                  <a:pt x="2160180" y="1079971"/>
                </a:cubicBezTo>
              </a:path>
            </a:pathLst>
          </a:cu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1" name="Ellipse 43">
            <a:extLst>
              <a:ext uri="{FF2B5EF4-FFF2-40B4-BE49-F238E27FC236}">
                <a16:creationId xmlns:a16="http://schemas.microsoft.com/office/drawing/2014/main" id="{26FBE6B3-63BE-84D1-00DB-7ED672289410}"/>
              </a:ext>
            </a:extLst>
          </p:cNvPr>
          <p:cNvSpPr>
            <a:spLocks/>
          </p:cNvSpPr>
          <p:nvPr/>
        </p:nvSpPr>
        <p:spPr bwMode="gray">
          <a:xfrm>
            <a:off x="2690444" y="1563942"/>
            <a:ext cx="2282457" cy="1141199"/>
          </a:xfrm>
          <a:custGeom>
            <a:avLst/>
            <a:gdLst>
              <a:gd name="connsiteX0" fmla="*/ 0 w 2160180"/>
              <a:gd name="connsiteY0" fmla="*/ 1079971 h 2159942"/>
              <a:gd name="connsiteX1" fmla="*/ 1080090 w 2160180"/>
              <a:gd name="connsiteY1" fmla="*/ 0 h 2159942"/>
              <a:gd name="connsiteX2" fmla="*/ 2160180 w 2160180"/>
              <a:gd name="connsiteY2" fmla="*/ 1079971 h 2159942"/>
              <a:gd name="connsiteX3" fmla="*/ 1080090 w 2160180"/>
              <a:gd name="connsiteY3" fmla="*/ 2159942 h 2159942"/>
              <a:gd name="connsiteX4" fmla="*/ 0 w 2160180"/>
              <a:gd name="connsiteY4" fmla="*/ 1079971 h 2159942"/>
              <a:gd name="connsiteX0" fmla="*/ 1080090 w 2160180"/>
              <a:gd name="connsiteY0" fmla="*/ 2159942 h 2251382"/>
              <a:gd name="connsiteX1" fmla="*/ 0 w 2160180"/>
              <a:gd name="connsiteY1" fmla="*/ 1079971 h 2251382"/>
              <a:gd name="connsiteX2" fmla="*/ 1080090 w 2160180"/>
              <a:gd name="connsiteY2" fmla="*/ 0 h 2251382"/>
              <a:gd name="connsiteX3" fmla="*/ 2160180 w 2160180"/>
              <a:gd name="connsiteY3" fmla="*/ 1079971 h 2251382"/>
              <a:gd name="connsiteX4" fmla="*/ 1171530 w 2160180"/>
              <a:gd name="connsiteY4" fmla="*/ 2251382 h 2251382"/>
              <a:gd name="connsiteX0" fmla="*/ 1080090 w 2160180"/>
              <a:gd name="connsiteY0" fmla="*/ 2159942 h 2159942"/>
              <a:gd name="connsiteX1" fmla="*/ 0 w 2160180"/>
              <a:gd name="connsiteY1" fmla="*/ 1079971 h 2159942"/>
              <a:gd name="connsiteX2" fmla="*/ 1080090 w 2160180"/>
              <a:gd name="connsiteY2" fmla="*/ 0 h 2159942"/>
              <a:gd name="connsiteX3" fmla="*/ 2160180 w 2160180"/>
              <a:gd name="connsiteY3" fmla="*/ 1079971 h 2159942"/>
              <a:gd name="connsiteX0" fmla="*/ 0 w 2160180"/>
              <a:gd name="connsiteY0" fmla="*/ 1079971 h 1079971"/>
              <a:gd name="connsiteX1" fmla="*/ 1080090 w 2160180"/>
              <a:gd name="connsiteY1" fmla="*/ 0 h 1079971"/>
              <a:gd name="connsiteX2" fmla="*/ 2160180 w 2160180"/>
              <a:gd name="connsiteY2" fmla="*/ 1079971 h 1079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60180" h="1079971">
                <a:moveTo>
                  <a:pt x="0" y="1079971"/>
                </a:moveTo>
                <a:cubicBezTo>
                  <a:pt x="0" y="483519"/>
                  <a:pt x="483573" y="0"/>
                  <a:pt x="1080090" y="0"/>
                </a:cubicBezTo>
                <a:cubicBezTo>
                  <a:pt x="1676607" y="0"/>
                  <a:pt x="2160180" y="483519"/>
                  <a:pt x="2160180" y="1079971"/>
                </a:cubicBezTo>
              </a:path>
            </a:pathLst>
          </a:custGeom>
          <a:noFill/>
          <a:ln w="381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2" name="Ellipse 44">
            <a:extLst>
              <a:ext uri="{FF2B5EF4-FFF2-40B4-BE49-F238E27FC236}">
                <a16:creationId xmlns:a16="http://schemas.microsoft.com/office/drawing/2014/main" id="{F2AB4F52-A83F-9C0B-5AC1-71F34561391A}"/>
              </a:ext>
            </a:extLst>
          </p:cNvPr>
          <p:cNvSpPr>
            <a:spLocks/>
          </p:cNvSpPr>
          <p:nvPr/>
        </p:nvSpPr>
        <p:spPr bwMode="gray">
          <a:xfrm>
            <a:off x="4973156" y="2705143"/>
            <a:ext cx="2282457" cy="1141199"/>
          </a:xfrm>
          <a:custGeom>
            <a:avLst/>
            <a:gdLst>
              <a:gd name="connsiteX0" fmla="*/ 0 w 2160180"/>
              <a:gd name="connsiteY0" fmla="*/ 1079971 h 2159942"/>
              <a:gd name="connsiteX1" fmla="*/ 1080090 w 2160180"/>
              <a:gd name="connsiteY1" fmla="*/ 0 h 2159942"/>
              <a:gd name="connsiteX2" fmla="*/ 2160180 w 2160180"/>
              <a:gd name="connsiteY2" fmla="*/ 1079971 h 2159942"/>
              <a:gd name="connsiteX3" fmla="*/ 1080090 w 2160180"/>
              <a:gd name="connsiteY3" fmla="*/ 2159942 h 2159942"/>
              <a:gd name="connsiteX4" fmla="*/ 0 w 2160180"/>
              <a:gd name="connsiteY4" fmla="*/ 1079971 h 2159942"/>
              <a:gd name="connsiteX0" fmla="*/ 1080090 w 2160180"/>
              <a:gd name="connsiteY0" fmla="*/ 0 h 2159942"/>
              <a:gd name="connsiteX1" fmla="*/ 2160180 w 2160180"/>
              <a:gd name="connsiteY1" fmla="*/ 1079971 h 2159942"/>
              <a:gd name="connsiteX2" fmla="*/ 1080090 w 2160180"/>
              <a:gd name="connsiteY2" fmla="*/ 2159942 h 2159942"/>
              <a:gd name="connsiteX3" fmla="*/ 0 w 2160180"/>
              <a:gd name="connsiteY3" fmla="*/ 1079971 h 2159942"/>
              <a:gd name="connsiteX4" fmla="*/ 1171530 w 2160180"/>
              <a:gd name="connsiteY4" fmla="*/ 91440 h 2159942"/>
              <a:gd name="connsiteX0" fmla="*/ 1080090 w 2160180"/>
              <a:gd name="connsiteY0" fmla="*/ 0 h 2159942"/>
              <a:gd name="connsiteX1" fmla="*/ 2160180 w 2160180"/>
              <a:gd name="connsiteY1" fmla="*/ 1079971 h 2159942"/>
              <a:gd name="connsiteX2" fmla="*/ 1080090 w 2160180"/>
              <a:gd name="connsiteY2" fmla="*/ 2159942 h 2159942"/>
              <a:gd name="connsiteX3" fmla="*/ 0 w 2160180"/>
              <a:gd name="connsiteY3" fmla="*/ 1079971 h 2159942"/>
              <a:gd name="connsiteX0" fmla="*/ 2160180 w 2160180"/>
              <a:gd name="connsiteY0" fmla="*/ 0 h 1079971"/>
              <a:gd name="connsiteX1" fmla="*/ 1080090 w 2160180"/>
              <a:gd name="connsiteY1" fmla="*/ 1079971 h 1079971"/>
              <a:gd name="connsiteX2" fmla="*/ 0 w 2160180"/>
              <a:gd name="connsiteY2" fmla="*/ 0 h 1079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60180" h="1079971">
                <a:moveTo>
                  <a:pt x="2160180" y="0"/>
                </a:moveTo>
                <a:cubicBezTo>
                  <a:pt x="2160180" y="596452"/>
                  <a:pt x="1676607" y="1079971"/>
                  <a:pt x="1080090" y="1079971"/>
                </a:cubicBezTo>
                <a:cubicBezTo>
                  <a:pt x="483573" y="1079971"/>
                  <a:pt x="0" y="596452"/>
                  <a:pt x="0" y="0"/>
                </a:cubicBezTo>
              </a:path>
            </a:pathLst>
          </a:custGeom>
          <a:noFill/>
          <a:ln w="381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3" name="Ellipse 45">
            <a:extLst>
              <a:ext uri="{FF2B5EF4-FFF2-40B4-BE49-F238E27FC236}">
                <a16:creationId xmlns:a16="http://schemas.microsoft.com/office/drawing/2014/main" id="{2F02696A-EE04-1975-3143-6AF07DB30F66}"/>
              </a:ext>
            </a:extLst>
          </p:cNvPr>
          <p:cNvSpPr>
            <a:spLocks/>
          </p:cNvSpPr>
          <p:nvPr/>
        </p:nvSpPr>
        <p:spPr bwMode="gray">
          <a:xfrm>
            <a:off x="7255612" y="1563942"/>
            <a:ext cx="2282457" cy="1141199"/>
          </a:xfrm>
          <a:custGeom>
            <a:avLst/>
            <a:gdLst>
              <a:gd name="connsiteX0" fmla="*/ 0 w 2160180"/>
              <a:gd name="connsiteY0" fmla="*/ 1079971 h 2159942"/>
              <a:gd name="connsiteX1" fmla="*/ 1080090 w 2160180"/>
              <a:gd name="connsiteY1" fmla="*/ 0 h 2159942"/>
              <a:gd name="connsiteX2" fmla="*/ 2160180 w 2160180"/>
              <a:gd name="connsiteY2" fmla="*/ 1079971 h 2159942"/>
              <a:gd name="connsiteX3" fmla="*/ 1080090 w 2160180"/>
              <a:gd name="connsiteY3" fmla="*/ 2159942 h 2159942"/>
              <a:gd name="connsiteX4" fmla="*/ 0 w 2160180"/>
              <a:gd name="connsiteY4" fmla="*/ 1079971 h 2159942"/>
              <a:gd name="connsiteX0" fmla="*/ 1080090 w 2160180"/>
              <a:gd name="connsiteY0" fmla="*/ 2159942 h 2251382"/>
              <a:gd name="connsiteX1" fmla="*/ 0 w 2160180"/>
              <a:gd name="connsiteY1" fmla="*/ 1079971 h 2251382"/>
              <a:gd name="connsiteX2" fmla="*/ 1080090 w 2160180"/>
              <a:gd name="connsiteY2" fmla="*/ 0 h 2251382"/>
              <a:gd name="connsiteX3" fmla="*/ 2160180 w 2160180"/>
              <a:gd name="connsiteY3" fmla="*/ 1079971 h 2251382"/>
              <a:gd name="connsiteX4" fmla="*/ 1171530 w 2160180"/>
              <a:gd name="connsiteY4" fmla="*/ 2251382 h 2251382"/>
              <a:gd name="connsiteX0" fmla="*/ 1080090 w 2160180"/>
              <a:gd name="connsiteY0" fmla="*/ 2159942 h 2159942"/>
              <a:gd name="connsiteX1" fmla="*/ 0 w 2160180"/>
              <a:gd name="connsiteY1" fmla="*/ 1079971 h 2159942"/>
              <a:gd name="connsiteX2" fmla="*/ 1080090 w 2160180"/>
              <a:gd name="connsiteY2" fmla="*/ 0 h 2159942"/>
              <a:gd name="connsiteX3" fmla="*/ 2160180 w 2160180"/>
              <a:gd name="connsiteY3" fmla="*/ 1079971 h 2159942"/>
              <a:gd name="connsiteX0" fmla="*/ 0 w 2160180"/>
              <a:gd name="connsiteY0" fmla="*/ 1079971 h 1079971"/>
              <a:gd name="connsiteX1" fmla="*/ 1080090 w 2160180"/>
              <a:gd name="connsiteY1" fmla="*/ 0 h 1079971"/>
              <a:gd name="connsiteX2" fmla="*/ 2160180 w 2160180"/>
              <a:gd name="connsiteY2" fmla="*/ 1079971 h 1079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60180" h="1079971">
                <a:moveTo>
                  <a:pt x="0" y="1079971"/>
                </a:moveTo>
                <a:cubicBezTo>
                  <a:pt x="0" y="483519"/>
                  <a:pt x="483573" y="0"/>
                  <a:pt x="1080090" y="0"/>
                </a:cubicBezTo>
                <a:cubicBezTo>
                  <a:pt x="1676607" y="0"/>
                  <a:pt x="2160180" y="483519"/>
                  <a:pt x="2160180" y="1079971"/>
                </a:cubicBezTo>
              </a:path>
            </a:pathLst>
          </a:custGeom>
          <a:noFill/>
          <a:ln w="381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pic>
        <p:nvPicPr>
          <p:cNvPr id="22" name="Grafik 28">
            <a:extLst>
              <a:ext uri="{FF2B5EF4-FFF2-40B4-BE49-F238E27FC236}">
                <a16:creationId xmlns:a16="http://schemas.microsoft.com/office/drawing/2014/main" id="{A575C194-B516-12CF-9C6D-94ABC59A4BE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997474" y="2305741"/>
            <a:ext cx="798733" cy="798802"/>
          </a:xfrm>
          <a:prstGeom prst="rect">
            <a:avLst/>
          </a:prstGeom>
        </p:spPr>
      </p:pic>
      <p:pic>
        <p:nvPicPr>
          <p:cNvPr id="23" name="Grafik 30">
            <a:extLst>
              <a:ext uri="{FF2B5EF4-FFF2-40B4-BE49-F238E27FC236}">
                <a16:creationId xmlns:a16="http://schemas.microsoft.com/office/drawing/2014/main" id="{4BBAD7B1-EF14-11C6-6FCC-E0019B989EA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715018" y="2305741"/>
            <a:ext cx="798733" cy="798802"/>
          </a:xfrm>
          <a:prstGeom prst="rect">
            <a:avLst/>
          </a:prstGeom>
        </p:spPr>
      </p:pic>
      <p:pic>
        <p:nvPicPr>
          <p:cNvPr id="24" name="Grafik 32">
            <a:extLst>
              <a:ext uri="{FF2B5EF4-FFF2-40B4-BE49-F238E27FC236}">
                <a16:creationId xmlns:a16="http://schemas.microsoft.com/office/drawing/2014/main" id="{CD4E9BE9-339A-D138-0171-3254E9694F7F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432306" y="2305741"/>
            <a:ext cx="798733" cy="798802"/>
          </a:xfrm>
          <a:prstGeom prst="rect">
            <a:avLst/>
          </a:prstGeom>
        </p:spPr>
      </p:pic>
      <p:sp>
        <p:nvSpPr>
          <p:cNvPr id="2" name="Ellipse 42">
            <a:extLst>
              <a:ext uri="{FF2B5EF4-FFF2-40B4-BE49-F238E27FC236}">
                <a16:creationId xmlns:a16="http://schemas.microsoft.com/office/drawing/2014/main" id="{E3FD3503-57F7-91B3-EB52-D1BA509E9DE0}"/>
              </a:ext>
            </a:extLst>
          </p:cNvPr>
          <p:cNvSpPr>
            <a:spLocks/>
          </p:cNvSpPr>
          <p:nvPr/>
        </p:nvSpPr>
        <p:spPr bwMode="gray">
          <a:xfrm flipV="1">
            <a:off x="407987" y="1563942"/>
            <a:ext cx="2282457" cy="1141199"/>
          </a:xfrm>
          <a:custGeom>
            <a:avLst/>
            <a:gdLst>
              <a:gd name="connsiteX0" fmla="*/ 0 w 2160180"/>
              <a:gd name="connsiteY0" fmla="*/ 1079971 h 2159942"/>
              <a:gd name="connsiteX1" fmla="*/ 1080090 w 2160180"/>
              <a:gd name="connsiteY1" fmla="*/ 0 h 2159942"/>
              <a:gd name="connsiteX2" fmla="*/ 2160180 w 2160180"/>
              <a:gd name="connsiteY2" fmla="*/ 1079971 h 2159942"/>
              <a:gd name="connsiteX3" fmla="*/ 1080090 w 2160180"/>
              <a:gd name="connsiteY3" fmla="*/ 2159942 h 2159942"/>
              <a:gd name="connsiteX4" fmla="*/ 0 w 2160180"/>
              <a:gd name="connsiteY4" fmla="*/ 1079971 h 2159942"/>
              <a:gd name="connsiteX0" fmla="*/ 1080090 w 2160180"/>
              <a:gd name="connsiteY0" fmla="*/ 0 h 2159942"/>
              <a:gd name="connsiteX1" fmla="*/ 2160180 w 2160180"/>
              <a:gd name="connsiteY1" fmla="*/ 1079971 h 2159942"/>
              <a:gd name="connsiteX2" fmla="*/ 1080090 w 2160180"/>
              <a:gd name="connsiteY2" fmla="*/ 2159942 h 2159942"/>
              <a:gd name="connsiteX3" fmla="*/ 0 w 2160180"/>
              <a:gd name="connsiteY3" fmla="*/ 1079971 h 2159942"/>
              <a:gd name="connsiteX4" fmla="*/ 1171530 w 2160180"/>
              <a:gd name="connsiteY4" fmla="*/ 91440 h 2159942"/>
              <a:gd name="connsiteX0" fmla="*/ 1080090 w 2160180"/>
              <a:gd name="connsiteY0" fmla="*/ 0 h 2159942"/>
              <a:gd name="connsiteX1" fmla="*/ 2160180 w 2160180"/>
              <a:gd name="connsiteY1" fmla="*/ 1079971 h 2159942"/>
              <a:gd name="connsiteX2" fmla="*/ 1080090 w 2160180"/>
              <a:gd name="connsiteY2" fmla="*/ 2159942 h 2159942"/>
              <a:gd name="connsiteX3" fmla="*/ 0 w 2160180"/>
              <a:gd name="connsiteY3" fmla="*/ 1079971 h 2159942"/>
              <a:gd name="connsiteX0" fmla="*/ 2160180 w 2160180"/>
              <a:gd name="connsiteY0" fmla="*/ 0 h 1079971"/>
              <a:gd name="connsiteX1" fmla="*/ 1080090 w 2160180"/>
              <a:gd name="connsiteY1" fmla="*/ 1079971 h 1079971"/>
              <a:gd name="connsiteX2" fmla="*/ 0 w 2160180"/>
              <a:gd name="connsiteY2" fmla="*/ 0 h 1079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60180" h="1079971">
                <a:moveTo>
                  <a:pt x="2160180" y="0"/>
                </a:moveTo>
                <a:cubicBezTo>
                  <a:pt x="2160180" y="596452"/>
                  <a:pt x="1676607" y="1079971"/>
                  <a:pt x="1080090" y="1079971"/>
                </a:cubicBezTo>
                <a:cubicBezTo>
                  <a:pt x="483573" y="1079971"/>
                  <a:pt x="0" y="596452"/>
                  <a:pt x="0" y="0"/>
                </a:cubicBezTo>
              </a:path>
            </a:pathLst>
          </a:cu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9" name="Ellipse 42">
            <a:extLst>
              <a:ext uri="{FF2B5EF4-FFF2-40B4-BE49-F238E27FC236}">
                <a16:creationId xmlns:a16="http://schemas.microsoft.com/office/drawing/2014/main" id="{630F992E-6FAD-3F0C-9DF3-55779FD9A712}"/>
              </a:ext>
            </a:extLst>
          </p:cNvPr>
          <p:cNvSpPr>
            <a:spLocks/>
          </p:cNvSpPr>
          <p:nvPr/>
        </p:nvSpPr>
        <p:spPr bwMode="gray">
          <a:xfrm>
            <a:off x="407987" y="2705143"/>
            <a:ext cx="2282457" cy="1141199"/>
          </a:xfrm>
          <a:custGeom>
            <a:avLst/>
            <a:gdLst>
              <a:gd name="connsiteX0" fmla="*/ 0 w 2160180"/>
              <a:gd name="connsiteY0" fmla="*/ 1079971 h 2159942"/>
              <a:gd name="connsiteX1" fmla="*/ 1080090 w 2160180"/>
              <a:gd name="connsiteY1" fmla="*/ 0 h 2159942"/>
              <a:gd name="connsiteX2" fmla="*/ 2160180 w 2160180"/>
              <a:gd name="connsiteY2" fmla="*/ 1079971 h 2159942"/>
              <a:gd name="connsiteX3" fmla="*/ 1080090 w 2160180"/>
              <a:gd name="connsiteY3" fmla="*/ 2159942 h 2159942"/>
              <a:gd name="connsiteX4" fmla="*/ 0 w 2160180"/>
              <a:gd name="connsiteY4" fmla="*/ 1079971 h 2159942"/>
              <a:gd name="connsiteX0" fmla="*/ 1080090 w 2160180"/>
              <a:gd name="connsiteY0" fmla="*/ 0 h 2159942"/>
              <a:gd name="connsiteX1" fmla="*/ 2160180 w 2160180"/>
              <a:gd name="connsiteY1" fmla="*/ 1079971 h 2159942"/>
              <a:gd name="connsiteX2" fmla="*/ 1080090 w 2160180"/>
              <a:gd name="connsiteY2" fmla="*/ 2159942 h 2159942"/>
              <a:gd name="connsiteX3" fmla="*/ 0 w 2160180"/>
              <a:gd name="connsiteY3" fmla="*/ 1079971 h 2159942"/>
              <a:gd name="connsiteX4" fmla="*/ 1171530 w 2160180"/>
              <a:gd name="connsiteY4" fmla="*/ 91440 h 2159942"/>
              <a:gd name="connsiteX0" fmla="*/ 1080090 w 2160180"/>
              <a:gd name="connsiteY0" fmla="*/ 0 h 2159942"/>
              <a:gd name="connsiteX1" fmla="*/ 2160180 w 2160180"/>
              <a:gd name="connsiteY1" fmla="*/ 1079971 h 2159942"/>
              <a:gd name="connsiteX2" fmla="*/ 1080090 w 2160180"/>
              <a:gd name="connsiteY2" fmla="*/ 2159942 h 2159942"/>
              <a:gd name="connsiteX3" fmla="*/ 0 w 2160180"/>
              <a:gd name="connsiteY3" fmla="*/ 1079971 h 2159942"/>
              <a:gd name="connsiteX0" fmla="*/ 2160180 w 2160180"/>
              <a:gd name="connsiteY0" fmla="*/ 0 h 1079971"/>
              <a:gd name="connsiteX1" fmla="*/ 1080090 w 2160180"/>
              <a:gd name="connsiteY1" fmla="*/ 1079971 h 1079971"/>
              <a:gd name="connsiteX2" fmla="*/ 0 w 2160180"/>
              <a:gd name="connsiteY2" fmla="*/ 0 h 1079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60180" h="1079971">
                <a:moveTo>
                  <a:pt x="2160180" y="0"/>
                </a:moveTo>
                <a:cubicBezTo>
                  <a:pt x="2160180" y="596452"/>
                  <a:pt x="1676607" y="1079971"/>
                  <a:pt x="1080090" y="1079971"/>
                </a:cubicBezTo>
                <a:cubicBezTo>
                  <a:pt x="483573" y="1079971"/>
                  <a:pt x="0" y="596452"/>
                  <a:pt x="0" y="0"/>
                </a:cubicBezTo>
              </a:path>
            </a:pathLst>
          </a:custGeom>
          <a:noFill/>
          <a:ln w="381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pic>
        <p:nvPicPr>
          <p:cNvPr id="25" name="Grafik 34">
            <a:extLst>
              <a:ext uri="{FF2B5EF4-FFF2-40B4-BE49-F238E27FC236}">
                <a16:creationId xmlns:a16="http://schemas.microsoft.com/office/drawing/2014/main" id="{5D6BE8E0-2E8F-54AE-F95A-5B2DAE7F4ECF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149849" y="2305741"/>
            <a:ext cx="798733" cy="798802"/>
          </a:xfrm>
          <a:prstGeom prst="rect">
            <a:avLst/>
          </a:prstGeom>
        </p:spPr>
      </p:pic>
      <p:sp>
        <p:nvSpPr>
          <p:cNvPr id="34" name="Ellipse 42">
            <a:extLst>
              <a:ext uri="{FF2B5EF4-FFF2-40B4-BE49-F238E27FC236}">
                <a16:creationId xmlns:a16="http://schemas.microsoft.com/office/drawing/2014/main" id="{B6B907DB-A6BA-44B4-F265-B081774BBB63}"/>
              </a:ext>
            </a:extLst>
          </p:cNvPr>
          <p:cNvSpPr>
            <a:spLocks/>
          </p:cNvSpPr>
          <p:nvPr/>
        </p:nvSpPr>
        <p:spPr bwMode="gray">
          <a:xfrm flipV="1">
            <a:off x="9538067" y="1563942"/>
            <a:ext cx="2282457" cy="1141199"/>
          </a:xfrm>
          <a:custGeom>
            <a:avLst/>
            <a:gdLst>
              <a:gd name="connsiteX0" fmla="*/ 0 w 2160180"/>
              <a:gd name="connsiteY0" fmla="*/ 1079971 h 2159942"/>
              <a:gd name="connsiteX1" fmla="*/ 1080090 w 2160180"/>
              <a:gd name="connsiteY1" fmla="*/ 0 h 2159942"/>
              <a:gd name="connsiteX2" fmla="*/ 2160180 w 2160180"/>
              <a:gd name="connsiteY2" fmla="*/ 1079971 h 2159942"/>
              <a:gd name="connsiteX3" fmla="*/ 1080090 w 2160180"/>
              <a:gd name="connsiteY3" fmla="*/ 2159942 h 2159942"/>
              <a:gd name="connsiteX4" fmla="*/ 0 w 2160180"/>
              <a:gd name="connsiteY4" fmla="*/ 1079971 h 2159942"/>
              <a:gd name="connsiteX0" fmla="*/ 1080090 w 2160180"/>
              <a:gd name="connsiteY0" fmla="*/ 0 h 2159942"/>
              <a:gd name="connsiteX1" fmla="*/ 2160180 w 2160180"/>
              <a:gd name="connsiteY1" fmla="*/ 1079971 h 2159942"/>
              <a:gd name="connsiteX2" fmla="*/ 1080090 w 2160180"/>
              <a:gd name="connsiteY2" fmla="*/ 2159942 h 2159942"/>
              <a:gd name="connsiteX3" fmla="*/ 0 w 2160180"/>
              <a:gd name="connsiteY3" fmla="*/ 1079971 h 2159942"/>
              <a:gd name="connsiteX4" fmla="*/ 1171530 w 2160180"/>
              <a:gd name="connsiteY4" fmla="*/ 91440 h 2159942"/>
              <a:gd name="connsiteX0" fmla="*/ 1080090 w 2160180"/>
              <a:gd name="connsiteY0" fmla="*/ 0 h 2159942"/>
              <a:gd name="connsiteX1" fmla="*/ 2160180 w 2160180"/>
              <a:gd name="connsiteY1" fmla="*/ 1079971 h 2159942"/>
              <a:gd name="connsiteX2" fmla="*/ 1080090 w 2160180"/>
              <a:gd name="connsiteY2" fmla="*/ 2159942 h 2159942"/>
              <a:gd name="connsiteX3" fmla="*/ 0 w 2160180"/>
              <a:gd name="connsiteY3" fmla="*/ 1079971 h 2159942"/>
              <a:gd name="connsiteX0" fmla="*/ 2160180 w 2160180"/>
              <a:gd name="connsiteY0" fmla="*/ 0 h 1079971"/>
              <a:gd name="connsiteX1" fmla="*/ 1080090 w 2160180"/>
              <a:gd name="connsiteY1" fmla="*/ 1079971 h 1079971"/>
              <a:gd name="connsiteX2" fmla="*/ 0 w 2160180"/>
              <a:gd name="connsiteY2" fmla="*/ 0 h 1079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60180" h="1079971">
                <a:moveTo>
                  <a:pt x="2160180" y="0"/>
                </a:moveTo>
                <a:cubicBezTo>
                  <a:pt x="2160180" y="596452"/>
                  <a:pt x="1676607" y="1079971"/>
                  <a:pt x="1080090" y="1079971"/>
                </a:cubicBezTo>
                <a:cubicBezTo>
                  <a:pt x="483573" y="1079971"/>
                  <a:pt x="0" y="596452"/>
                  <a:pt x="0" y="0"/>
                </a:cubicBezTo>
              </a:path>
            </a:pathLst>
          </a:cu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35" name="Ellipse 42">
            <a:extLst>
              <a:ext uri="{FF2B5EF4-FFF2-40B4-BE49-F238E27FC236}">
                <a16:creationId xmlns:a16="http://schemas.microsoft.com/office/drawing/2014/main" id="{5A1159A3-D179-00D6-2397-302A0E3B5619}"/>
              </a:ext>
            </a:extLst>
          </p:cNvPr>
          <p:cNvSpPr>
            <a:spLocks/>
          </p:cNvSpPr>
          <p:nvPr/>
        </p:nvSpPr>
        <p:spPr bwMode="gray">
          <a:xfrm>
            <a:off x="9538067" y="2705143"/>
            <a:ext cx="2282457" cy="1141199"/>
          </a:xfrm>
          <a:custGeom>
            <a:avLst/>
            <a:gdLst>
              <a:gd name="connsiteX0" fmla="*/ 0 w 2160180"/>
              <a:gd name="connsiteY0" fmla="*/ 1079971 h 2159942"/>
              <a:gd name="connsiteX1" fmla="*/ 1080090 w 2160180"/>
              <a:gd name="connsiteY1" fmla="*/ 0 h 2159942"/>
              <a:gd name="connsiteX2" fmla="*/ 2160180 w 2160180"/>
              <a:gd name="connsiteY2" fmla="*/ 1079971 h 2159942"/>
              <a:gd name="connsiteX3" fmla="*/ 1080090 w 2160180"/>
              <a:gd name="connsiteY3" fmla="*/ 2159942 h 2159942"/>
              <a:gd name="connsiteX4" fmla="*/ 0 w 2160180"/>
              <a:gd name="connsiteY4" fmla="*/ 1079971 h 2159942"/>
              <a:gd name="connsiteX0" fmla="*/ 1080090 w 2160180"/>
              <a:gd name="connsiteY0" fmla="*/ 0 h 2159942"/>
              <a:gd name="connsiteX1" fmla="*/ 2160180 w 2160180"/>
              <a:gd name="connsiteY1" fmla="*/ 1079971 h 2159942"/>
              <a:gd name="connsiteX2" fmla="*/ 1080090 w 2160180"/>
              <a:gd name="connsiteY2" fmla="*/ 2159942 h 2159942"/>
              <a:gd name="connsiteX3" fmla="*/ 0 w 2160180"/>
              <a:gd name="connsiteY3" fmla="*/ 1079971 h 2159942"/>
              <a:gd name="connsiteX4" fmla="*/ 1171530 w 2160180"/>
              <a:gd name="connsiteY4" fmla="*/ 91440 h 2159942"/>
              <a:gd name="connsiteX0" fmla="*/ 1080090 w 2160180"/>
              <a:gd name="connsiteY0" fmla="*/ 0 h 2159942"/>
              <a:gd name="connsiteX1" fmla="*/ 2160180 w 2160180"/>
              <a:gd name="connsiteY1" fmla="*/ 1079971 h 2159942"/>
              <a:gd name="connsiteX2" fmla="*/ 1080090 w 2160180"/>
              <a:gd name="connsiteY2" fmla="*/ 2159942 h 2159942"/>
              <a:gd name="connsiteX3" fmla="*/ 0 w 2160180"/>
              <a:gd name="connsiteY3" fmla="*/ 1079971 h 2159942"/>
              <a:gd name="connsiteX0" fmla="*/ 2160180 w 2160180"/>
              <a:gd name="connsiteY0" fmla="*/ 0 h 1079971"/>
              <a:gd name="connsiteX1" fmla="*/ 1080090 w 2160180"/>
              <a:gd name="connsiteY1" fmla="*/ 1079971 h 1079971"/>
              <a:gd name="connsiteX2" fmla="*/ 0 w 2160180"/>
              <a:gd name="connsiteY2" fmla="*/ 0 h 1079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60180" h="1079971">
                <a:moveTo>
                  <a:pt x="2160180" y="0"/>
                </a:moveTo>
                <a:cubicBezTo>
                  <a:pt x="2160180" y="596452"/>
                  <a:pt x="1676607" y="1079971"/>
                  <a:pt x="1080090" y="1079971"/>
                </a:cubicBezTo>
                <a:cubicBezTo>
                  <a:pt x="483573" y="1079971"/>
                  <a:pt x="0" y="596452"/>
                  <a:pt x="0" y="0"/>
                </a:cubicBezTo>
              </a:path>
            </a:pathLst>
          </a:custGeom>
          <a:noFill/>
          <a:ln w="381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grpSp>
        <p:nvGrpSpPr>
          <p:cNvPr id="52" name="Pic">
            <a:extLst>
              <a:ext uri="{FF2B5EF4-FFF2-40B4-BE49-F238E27FC236}">
                <a16:creationId xmlns:a16="http://schemas.microsoft.com/office/drawing/2014/main" id="{BC8D4ACE-7577-FF18-624B-297DED2FECB3}"/>
              </a:ext>
            </a:extLst>
          </p:cNvPr>
          <p:cNvGrpSpPr/>
          <p:nvPr/>
        </p:nvGrpSpPr>
        <p:grpSpPr>
          <a:xfrm>
            <a:off x="10379329" y="2404577"/>
            <a:ext cx="599935" cy="601127"/>
            <a:chOff x="9794875" y="777345"/>
            <a:chExt cx="253999" cy="232834"/>
          </a:xfrm>
          <a:solidFill>
            <a:srgbClr val="C0C0C0"/>
          </a:solidFill>
        </p:grpSpPr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041F6A7A-9C28-D995-2805-28E762017E8B}"/>
                </a:ext>
              </a:extLst>
            </p:cNvPr>
            <p:cNvSpPr/>
            <p:nvPr/>
          </p:nvSpPr>
          <p:spPr>
            <a:xfrm>
              <a:off x="9794875" y="836613"/>
              <a:ext cx="253999" cy="173566"/>
            </a:xfrm>
            <a:custGeom>
              <a:avLst/>
              <a:gdLst>
                <a:gd name="connsiteX0" fmla="*/ 249767 w 253999"/>
                <a:gd name="connsiteY0" fmla="*/ 165100 h 173566"/>
                <a:gd name="connsiteX1" fmla="*/ 249767 w 253999"/>
                <a:gd name="connsiteY1" fmla="*/ 0 h 173566"/>
                <a:gd name="connsiteX2" fmla="*/ 198967 w 253999"/>
                <a:gd name="connsiteY2" fmla="*/ 0 h 173566"/>
                <a:gd name="connsiteX3" fmla="*/ 198967 w 253999"/>
                <a:gd name="connsiteY3" fmla="*/ 165100 h 173566"/>
                <a:gd name="connsiteX4" fmla="*/ 186267 w 253999"/>
                <a:gd name="connsiteY4" fmla="*/ 165100 h 173566"/>
                <a:gd name="connsiteX5" fmla="*/ 186267 w 253999"/>
                <a:gd name="connsiteY5" fmla="*/ 33867 h 173566"/>
                <a:gd name="connsiteX6" fmla="*/ 135467 w 253999"/>
                <a:gd name="connsiteY6" fmla="*/ 33867 h 173566"/>
                <a:gd name="connsiteX7" fmla="*/ 135467 w 253999"/>
                <a:gd name="connsiteY7" fmla="*/ 165100 h 173566"/>
                <a:gd name="connsiteX8" fmla="*/ 122767 w 253999"/>
                <a:gd name="connsiteY8" fmla="*/ 165100 h 173566"/>
                <a:gd name="connsiteX9" fmla="*/ 122767 w 253999"/>
                <a:gd name="connsiteY9" fmla="*/ 67733 h 173566"/>
                <a:gd name="connsiteX10" fmla="*/ 71967 w 253999"/>
                <a:gd name="connsiteY10" fmla="*/ 67733 h 173566"/>
                <a:gd name="connsiteX11" fmla="*/ 71967 w 253999"/>
                <a:gd name="connsiteY11" fmla="*/ 165100 h 173566"/>
                <a:gd name="connsiteX12" fmla="*/ 59267 w 253999"/>
                <a:gd name="connsiteY12" fmla="*/ 165100 h 173566"/>
                <a:gd name="connsiteX13" fmla="*/ 59267 w 253999"/>
                <a:gd name="connsiteY13" fmla="*/ 105833 h 173566"/>
                <a:gd name="connsiteX14" fmla="*/ 8467 w 253999"/>
                <a:gd name="connsiteY14" fmla="*/ 105833 h 173566"/>
                <a:gd name="connsiteX15" fmla="*/ 8467 w 253999"/>
                <a:gd name="connsiteY15" fmla="*/ 165100 h 173566"/>
                <a:gd name="connsiteX16" fmla="*/ 4233 w 253999"/>
                <a:gd name="connsiteY16" fmla="*/ 165100 h 173566"/>
                <a:gd name="connsiteX17" fmla="*/ 0 w 253999"/>
                <a:gd name="connsiteY17" fmla="*/ 169333 h 173566"/>
                <a:gd name="connsiteX18" fmla="*/ 4233 w 253999"/>
                <a:gd name="connsiteY18" fmla="*/ 173567 h 173566"/>
                <a:gd name="connsiteX19" fmla="*/ 8467 w 253999"/>
                <a:gd name="connsiteY19" fmla="*/ 173567 h 173566"/>
                <a:gd name="connsiteX20" fmla="*/ 59267 w 253999"/>
                <a:gd name="connsiteY20" fmla="*/ 173567 h 173566"/>
                <a:gd name="connsiteX21" fmla="*/ 71967 w 253999"/>
                <a:gd name="connsiteY21" fmla="*/ 173567 h 173566"/>
                <a:gd name="connsiteX22" fmla="*/ 122767 w 253999"/>
                <a:gd name="connsiteY22" fmla="*/ 173567 h 173566"/>
                <a:gd name="connsiteX23" fmla="*/ 135467 w 253999"/>
                <a:gd name="connsiteY23" fmla="*/ 173567 h 173566"/>
                <a:gd name="connsiteX24" fmla="*/ 186267 w 253999"/>
                <a:gd name="connsiteY24" fmla="*/ 173567 h 173566"/>
                <a:gd name="connsiteX25" fmla="*/ 198967 w 253999"/>
                <a:gd name="connsiteY25" fmla="*/ 173567 h 173566"/>
                <a:gd name="connsiteX26" fmla="*/ 249767 w 253999"/>
                <a:gd name="connsiteY26" fmla="*/ 173567 h 173566"/>
                <a:gd name="connsiteX27" fmla="*/ 254000 w 253999"/>
                <a:gd name="connsiteY27" fmla="*/ 169333 h 173566"/>
                <a:gd name="connsiteX28" fmla="*/ 249767 w 253999"/>
                <a:gd name="connsiteY28" fmla="*/ 165100 h 173566"/>
                <a:gd name="connsiteX29" fmla="*/ 16933 w 253999"/>
                <a:gd name="connsiteY29" fmla="*/ 165100 h 173566"/>
                <a:gd name="connsiteX30" fmla="*/ 16933 w 253999"/>
                <a:gd name="connsiteY30" fmla="*/ 114300 h 173566"/>
                <a:gd name="connsiteX31" fmla="*/ 50800 w 253999"/>
                <a:gd name="connsiteY31" fmla="*/ 114300 h 173566"/>
                <a:gd name="connsiteX32" fmla="*/ 50800 w 253999"/>
                <a:gd name="connsiteY32" fmla="*/ 165100 h 173566"/>
                <a:gd name="connsiteX33" fmla="*/ 16933 w 253999"/>
                <a:gd name="connsiteY33" fmla="*/ 165100 h 173566"/>
                <a:gd name="connsiteX34" fmla="*/ 80433 w 253999"/>
                <a:gd name="connsiteY34" fmla="*/ 165100 h 173566"/>
                <a:gd name="connsiteX35" fmla="*/ 80433 w 253999"/>
                <a:gd name="connsiteY35" fmla="*/ 76200 h 173566"/>
                <a:gd name="connsiteX36" fmla="*/ 114300 w 253999"/>
                <a:gd name="connsiteY36" fmla="*/ 76200 h 173566"/>
                <a:gd name="connsiteX37" fmla="*/ 114300 w 253999"/>
                <a:gd name="connsiteY37" fmla="*/ 165100 h 173566"/>
                <a:gd name="connsiteX38" fmla="*/ 80433 w 253999"/>
                <a:gd name="connsiteY38" fmla="*/ 165100 h 173566"/>
                <a:gd name="connsiteX39" fmla="*/ 143933 w 253999"/>
                <a:gd name="connsiteY39" fmla="*/ 165100 h 173566"/>
                <a:gd name="connsiteX40" fmla="*/ 143933 w 253999"/>
                <a:gd name="connsiteY40" fmla="*/ 42333 h 173566"/>
                <a:gd name="connsiteX41" fmla="*/ 177800 w 253999"/>
                <a:gd name="connsiteY41" fmla="*/ 42333 h 173566"/>
                <a:gd name="connsiteX42" fmla="*/ 177800 w 253999"/>
                <a:gd name="connsiteY42" fmla="*/ 165100 h 173566"/>
                <a:gd name="connsiteX43" fmla="*/ 143933 w 253999"/>
                <a:gd name="connsiteY43" fmla="*/ 165100 h 173566"/>
                <a:gd name="connsiteX44" fmla="*/ 207433 w 253999"/>
                <a:gd name="connsiteY44" fmla="*/ 165100 h 173566"/>
                <a:gd name="connsiteX45" fmla="*/ 207433 w 253999"/>
                <a:gd name="connsiteY45" fmla="*/ 8467 h 173566"/>
                <a:gd name="connsiteX46" fmla="*/ 241300 w 253999"/>
                <a:gd name="connsiteY46" fmla="*/ 8467 h 173566"/>
                <a:gd name="connsiteX47" fmla="*/ 241300 w 253999"/>
                <a:gd name="connsiteY47" fmla="*/ 165100 h 173566"/>
                <a:gd name="connsiteX48" fmla="*/ 207433 w 253999"/>
                <a:gd name="connsiteY48" fmla="*/ 165100 h 173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253999" h="173566">
                  <a:moveTo>
                    <a:pt x="249767" y="165100"/>
                  </a:moveTo>
                  <a:lnTo>
                    <a:pt x="249767" y="0"/>
                  </a:lnTo>
                  <a:lnTo>
                    <a:pt x="198967" y="0"/>
                  </a:lnTo>
                  <a:lnTo>
                    <a:pt x="198967" y="165100"/>
                  </a:lnTo>
                  <a:lnTo>
                    <a:pt x="186267" y="165100"/>
                  </a:lnTo>
                  <a:lnTo>
                    <a:pt x="186267" y="33867"/>
                  </a:lnTo>
                  <a:lnTo>
                    <a:pt x="135467" y="33867"/>
                  </a:lnTo>
                  <a:lnTo>
                    <a:pt x="135467" y="165100"/>
                  </a:lnTo>
                  <a:lnTo>
                    <a:pt x="122767" y="165100"/>
                  </a:lnTo>
                  <a:lnTo>
                    <a:pt x="122767" y="67733"/>
                  </a:lnTo>
                  <a:lnTo>
                    <a:pt x="71967" y="67733"/>
                  </a:lnTo>
                  <a:lnTo>
                    <a:pt x="71967" y="165100"/>
                  </a:lnTo>
                  <a:lnTo>
                    <a:pt x="59267" y="165100"/>
                  </a:lnTo>
                  <a:lnTo>
                    <a:pt x="59267" y="105833"/>
                  </a:lnTo>
                  <a:lnTo>
                    <a:pt x="8467" y="105833"/>
                  </a:lnTo>
                  <a:lnTo>
                    <a:pt x="8467" y="165100"/>
                  </a:lnTo>
                  <a:lnTo>
                    <a:pt x="4233" y="165100"/>
                  </a:lnTo>
                  <a:cubicBezTo>
                    <a:pt x="1897" y="165100"/>
                    <a:pt x="0" y="166992"/>
                    <a:pt x="0" y="169333"/>
                  </a:cubicBezTo>
                  <a:cubicBezTo>
                    <a:pt x="0" y="171674"/>
                    <a:pt x="1897" y="173567"/>
                    <a:pt x="4233" y="173567"/>
                  </a:cubicBezTo>
                  <a:lnTo>
                    <a:pt x="8467" y="173567"/>
                  </a:lnTo>
                  <a:lnTo>
                    <a:pt x="59267" y="173567"/>
                  </a:lnTo>
                  <a:lnTo>
                    <a:pt x="71967" y="173567"/>
                  </a:lnTo>
                  <a:lnTo>
                    <a:pt x="122767" y="173567"/>
                  </a:lnTo>
                  <a:lnTo>
                    <a:pt x="135467" y="173567"/>
                  </a:lnTo>
                  <a:lnTo>
                    <a:pt x="186267" y="173567"/>
                  </a:lnTo>
                  <a:lnTo>
                    <a:pt x="198967" y="173567"/>
                  </a:lnTo>
                  <a:lnTo>
                    <a:pt x="249767" y="173567"/>
                  </a:lnTo>
                  <a:cubicBezTo>
                    <a:pt x="252103" y="173567"/>
                    <a:pt x="254000" y="171674"/>
                    <a:pt x="254000" y="169333"/>
                  </a:cubicBezTo>
                  <a:cubicBezTo>
                    <a:pt x="254000" y="166992"/>
                    <a:pt x="252103" y="165100"/>
                    <a:pt x="249767" y="165100"/>
                  </a:cubicBezTo>
                  <a:close/>
                  <a:moveTo>
                    <a:pt x="16933" y="165100"/>
                  </a:moveTo>
                  <a:lnTo>
                    <a:pt x="16933" y="114300"/>
                  </a:lnTo>
                  <a:lnTo>
                    <a:pt x="50800" y="114300"/>
                  </a:lnTo>
                  <a:lnTo>
                    <a:pt x="50800" y="165100"/>
                  </a:lnTo>
                  <a:lnTo>
                    <a:pt x="16933" y="165100"/>
                  </a:lnTo>
                  <a:close/>
                  <a:moveTo>
                    <a:pt x="80433" y="165100"/>
                  </a:moveTo>
                  <a:lnTo>
                    <a:pt x="80433" y="76200"/>
                  </a:lnTo>
                  <a:lnTo>
                    <a:pt x="114300" y="76200"/>
                  </a:lnTo>
                  <a:lnTo>
                    <a:pt x="114300" y="165100"/>
                  </a:lnTo>
                  <a:lnTo>
                    <a:pt x="80433" y="165100"/>
                  </a:lnTo>
                  <a:close/>
                  <a:moveTo>
                    <a:pt x="143933" y="165100"/>
                  </a:moveTo>
                  <a:lnTo>
                    <a:pt x="143933" y="42333"/>
                  </a:lnTo>
                  <a:lnTo>
                    <a:pt x="177800" y="42333"/>
                  </a:lnTo>
                  <a:lnTo>
                    <a:pt x="177800" y="165100"/>
                  </a:lnTo>
                  <a:lnTo>
                    <a:pt x="143933" y="165100"/>
                  </a:lnTo>
                  <a:close/>
                  <a:moveTo>
                    <a:pt x="207433" y="165100"/>
                  </a:moveTo>
                  <a:lnTo>
                    <a:pt x="207433" y="8467"/>
                  </a:lnTo>
                  <a:lnTo>
                    <a:pt x="241300" y="8467"/>
                  </a:lnTo>
                  <a:lnTo>
                    <a:pt x="241300" y="165100"/>
                  </a:lnTo>
                  <a:lnTo>
                    <a:pt x="207433" y="165100"/>
                  </a:lnTo>
                  <a:close/>
                </a:path>
              </a:pathLst>
            </a:custGeom>
            <a:grpFill/>
            <a:ln w="41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5A4C7EB0-B1AB-3116-FE82-7D060BDD7A02}"/>
                </a:ext>
              </a:extLst>
            </p:cNvPr>
            <p:cNvSpPr/>
            <p:nvPr/>
          </p:nvSpPr>
          <p:spPr>
            <a:xfrm>
              <a:off x="9824630" y="777345"/>
              <a:ext cx="173428" cy="107231"/>
            </a:xfrm>
            <a:custGeom>
              <a:avLst/>
              <a:gdLst>
                <a:gd name="connsiteX0" fmla="*/ 4239 w 173428"/>
                <a:gd name="connsiteY0" fmla="*/ 107231 h 107231"/>
                <a:gd name="connsiteX1" fmla="*/ 6351 w 173428"/>
                <a:gd name="connsiteY1" fmla="*/ 106664 h 107231"/>
                <a:gd name="connsiteX2" fmla="*/ 159890 w 173428"/>
                <a:gd name="connsiteY2" fmla="*/ 18018 h 107231"/>
                <a:gd name="connsiteX3" fmla="*/ 150280 w 173428"/>
                <a:gd name="connsiteY3" fmla="*/ 39142 h 107231"/>
                <a:gd name="connsiteX4" fmla="*/ 152380 w 173428"/>
                <a:gd name="connsiteY4" fmla="*/ 44747 h 107231"/>
                <a:gd name="connsiteX5" fmla="*/ 154132 w 173428"/>
                <a:gd name="connsiteY5" fmla="*/ 45128 h 107231"/>
                <a:gd name="connsiteX6" fmla="*/ 157989 w 173428"/>
                <a:gd name="connsiteY6" fmla="*/ 42647 h 107231"/>
                <a:gd name="connsiteX7" fmla="*/ 173068 w 173428"/>
                <a:gd name="connsiteY7" fmla="*/ 9500 h 107231"/>
                <a:gd name="connsiteX8" fmla="*/ 173144 w 173428"/>
                <a:gd name="connsiteY8" fmla="*/ 9170 h 107231"/>
                <a:gd name="connsiteX9" fmla="*/ 173331 w 173428"/>
                <a:gd name="connsiteY9" fmla="*/ 8493 h 107231"/>
                <a:gd name="connsiteX10" fmla="*/ 173428 w 173428"/>
                <a:gd name="connsiteY10" fmla="*/ 8154 h 107231"/>
                <a:gd name="connsiteX11" fmla="*/ 173415 w 173428"/>
                <a:gd name="connsiteY11" fmla="*/ 8010 h 107231"/>
                <a:gd name="connsiteX12" fmla="*/ 173398 w 173428"/>
                <a:gd name="connsiteY12" fmla="*/ 7540 h 107231"/>
                <a:gd name="connsiteX13" fmla="*/ 173297 w 173428"/>
                <a:gd name="connsiteY13" fmla="*/ 6854 h 107231"/>
                <a:gd name="connsiteX14" fmla="*/ 173199 w 173428"/>
                <a:gd name="connsiteY14" fmla="*/ 6372 h 107231"/>
                <a:gd name="connsiteX15" fmla="*/ 172992 w 173428"/>
                <a:gd name="connsiteY15" fmla="*/ 5944 h 107231"/>
                <a:gd name="connsiteX16" fmla="*/ 172878 w 173428"/>
                <a:gd name="connsiteY16" fmla="*/ 5631 h 107231"/>
                <a:gd name="connsiteX17" fmla="*/ 172649 w 173428"/>
                <a:gd name="connsiteY17" fmla="*/ 5373 h 107231"/>
                <a:gd name="connsiteX18" fmla="*/ 172387 w 173428"/>
                <a:gd name="connsiteY18" fmla="*/ 4983 h 107231"/>
                <a:gd name="connsiteX19" fmla="*/ 172010 w 173428"/>
                <a:gd name="connsiteY19" fmla="*/ 4653 h 107231"/>
                <a:gd name="connsiteX20" fmla="*/ 171468 w 173428"/>
                <a:gd name="connsiteY20" fmla="*/ 4226 h 107231"/>
                <a:gd name="connsiteX21" fmla="*/ 171074 w 173428"/>
                <a:gd name="connsiteY21" fmla="*/ 3976 h 107231"/>
                <a:gd name="connsiteX22" fmla="*/ 170956 w 173428"/>
                <a:gd name="connsiteY22" fmla="*/ 3891 h 107231"/>
                <a:gd name="connsiteX23" fmla="*/ 170630 w 173428"/>
                <a:gd name="connsiteY23" fmla="*/ 3815 h 107231"/>
                <a:gd name="connsiteX24" fmla="*/ 169927 w 173428"/>
                <a:gd name="connsiteY24" fmla="*/ 3629 h 107231"/>
                <a:gd name="connsiteX25" fmla="*/ 169614 w 173428"/>
                <a:gd name="connsiteY25" fmla="*/ 3536 h 107231"/>
                <a:gd name="connsiteX26" fmla="*/ 133368 w 173428"/>
                <a:gd name="connsiteY26" fmla="*/ 22 h 107231"/>
                <a:gd name="connsiteX27" fmla="*/ 128745 w 173428"/>
                <a:gd name="connsiteY27" fmla="*/ 3823 h 107231"/>
                <a:gd name="connsiteX28" fmla="*/ 132547 w 173428"/>
                <a:gd name="connsiteY28" fmla="*/ 8446 h 107231"/>
                <a:gd name="connsiteX29" fmla="*/ 155644 w 173428"/>
                <a:gd name="connsiteY29" fmla="*/ 10686 h 107231"/>
                <a:gd name="connsiteX30" fmla="*/ 2118 w 173428"/>
                <a:gd name="connsiteY30" fmla="*/ 99332 h 107231"/>
                <a:gd name="connsiteX31" fmla="*/ 568 w 173428"/>
                <a:gd name="connsiteY31" fmla="*/ 105114 h 107231"/>
                <a:gd name="connsiteX32" fmla="*/ 4239 w 173428"/>
                <a:gd name="connsiteY32" fmla="*/ 107231 h 107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73428" h="107231">
                  <a:moveTo>
                    <a:pt x="4239" y="107231"/>
                  </a:moveTo>
                  <a:cubicBezTo>
                    <a:pt x="4954" y="107231"/>
                    <a:pt x="5686" y="107049"/>
                    <a:pt x="6351" y="106664"/>
                  </a:cubicBezTo>
                  <a:lnTo>
                    <a:pt x="159890" y="18018"/>
                  </a:lnTo>
                  <a:lnTo>
                    <a:pt x="150280" y="39142"/>
                  </a:lnTo>
                  <a:cubicBezTo>
                    <a:pt x="149311" y="41271"/>
                    <a:pt x="150250" y="43782"/>
                    <a:pt x="152380" y="44747"/>
                  </a:cubicBezTo>
                  <a:cubicBezTo>
                    <a:pt x="152947" y="45009"/>
                    <a:pt x="153544" y="45128"/>
                    <a:pt x="154132" y="45128"/>
                  </a:cubicBezTo>
                  <a:cubicBezTo>
                    <a:pt x="155741" y="45128"/>
                    <a:pt x="157278" y="44205"/>
                    <a:pt x="157989" y="42647"/>
                  </a:cubicBezTo>
                  <a:lnTo>
                    <a:pt x="173068" y="9500"/>
                  </a:lnTo>
                  <a:cubicBezTo>
                    <a:pt x="173115" y="9394"/>
                    <a:pt x="173106" y="9280"/>
                    <a:pt x="173144" y="9170"/>
                  </a:cubicBezTo>
                  <a:cubicBezTo>
                    <a:pt x="173225" y="8946"/>
                    <a:pt x="173288" y="8730"/>
                    <a:pt x="173331" y="8493"/>
                  </a:cubicBezTo>
                  <a:cubicBezTo>
                    <a:pt x="173352" y="8374"/>
                    <a:pt x="173420" y="8277"/>
                    <a:pt x="173428" y="8154"/>
                  </a:cubicBezTo>
                  <a:cubicBezTo>
                    <a:pt x="173432" y="8103"/>
                    <a:pt x="173411" y="8061"/>
                    <a:pt x="173415" y="8010"/>
                  </a:cubicBezTo>
                  <a:cubicBezTo>
                    <a:pt x="173424" y="7849"/>
                    <a:pt x="173407" y="7701"/>
                    <a:pt x="173398" y="7540"/>
                  </a:cubicBezTo>
                  <a:cubicBezTo>
                    <a:pt x="173386" y="7307"/>
                    <a:pt x="173348" y="7087"/>
                    <a:pt x="173297" y="6854"/>
                  </a:cubicBezTo>
                  <a:cubicBezTo>
                    <a:pt x="173263" y="6694"/>
                    <a:pt x="173254" y="6528"/>
                    <a:pt x="173199" y="6372"/>
                  </a:cubicBezTo>
                  <a:cubicBezTo>
                    <a:pt x="173149" y="6219"/>
                    <a:pt x="173060" y="6092"/>
                    <a:pt x="172992" y="5944"/>
                  </a:cubicBezTo>
                  <a:cubicBezTo>
                    <a:pt x="172937" y="5847"/>
                    <a:pt x="172937" y="5733"/>
                    <a:pt x="172878" y="5631"/>
                  </a:cubicBezTo>
                  <a:cubicBezTo>
                    <a:pt x="172818" y="5529"/>
                    <a:pt x="172717" y="5470"/>
                    <a:pt x="172649" y="5373"/>
                  </a:cubicBezTo>
                  <a:cubicBezTo>
                    <a:pt x="172560" y="5242"/>
                    <a:pt x="172492" y="5102"/>
                    <a:pt x="172387" y="4983"/>
                  </a:cubicBezTo>
                  <a:cubicBezTo>
                    <a:pt x="172277" y="4856"/>
                    <a:pt x="172137" y="4767"/>
                    <a:pt x="172010" y="4653"/>
                  </a:cubicBezTo>
                  <a:cubicBezTo>
                    <a:pt x="171836" y="4496"/>
                    <a:pt x="171663" y="4353"/>
                    <a:pt x="171468" y="4226"/>
                  </a:cubicBezTo>
                  <a:cubicBezTo>
                    <a:pt x="171337" y="4141"/>
                    <a:pt x="171218" y="4048"/>
                    <a:pt x="171074" y="3976"/>
                  </a:cubicBezTo>
                  <a:cubicBezTo>
                    <a:pt x="171028" y="3955"/>
                    <a:pt x="171002" y="3912"/>
                    <a:pt x="170956" y="3891"/>
                  </a:cubicBezTo>
                  <a:cubicBezTo>
                    <a:pt x="170850" y="3845"/>
                    <a:pt x="170736" y="3853"/>
                    <a:pt x="170630" y="3815"/>
                  </a:cubicBezTo>
                  <a:cubicBezTo>
                    <a:pt x="170397" y="3730"/>
                    <a:pt x="170168" y="3671"/>
                    <a:pt x="169927" y="3629"/>
                  </a:cubicBezTo>
                  <a:cubicBezTo>
                    <a:pt x="169817" y="3607"/>
                    <a:pt x="169728" y="3544"/>
                    <a:pt x="169614" y="3536"/>
                  </a:cubicBezTo>
                  <a:lnTo>
                    <a:pt x="133368" y="22"/>
                  </a:lnTo>
                  <a:cubicBezTo>
                    <a:pt x="131018" y="-215"/>
                    <a:pt x="128970" y="1504"/>
                    <a:pt x="128745" y="3823"/>
                  </a:cubicBezTo>
                  <a:cubicBezTo>
                    <a:pt x="128517" y="6152"/>
                    <a:pt x="130223" y="8222"/>
                    <a:pt x="132547" y="8446"/>
                  </a:cubicBezTo>
                  <a:lnTo>
                    <a:pt x="155644" y="10686"/>
                  </a:lnTo>
                  <a:lnTo>
                    <a:pt x="2118" y="99332"/>
                  </a:lnTo>
                  <a:cubicBezTo>
                    <a:pt x="90" y="100500"/>
                    <a:pt x="-600" y="103091"/>
                    <a:pt x="568" y="105114"/>
                  </a:cubicBezTo>
                  <a:cubicBezTo>
                    <a:pt x="1351" y="106473"/>
                    <a:pt x="2774" y="107231"/>
                    <a:pt x="4239" y="107231"/>
                  </a:cubicBezTo>
                  <a:close/>
                </a:path>
              </a:pathLst>
            </a:custGeom>
            <a:grpFill/>
            <a:ln w="41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276145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LIARYSHAPE" val="auxiliaryShap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LIARYSHAPE" val="auxiliaryShap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